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docProps/custom.xml" ContentType="application/vnd.openxmlformats-officedocument.custom-propertie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  <p:sldMasterId id="2147483667" r:id="rId2"/>
    <p:sldMasterId id="2147483672" r:id="rId3"/>
  </p:sldMasterIdLst>
  <p:notesMasterIdLst>
    <p:notesMasterId r:id="rId6"/>
  </p:notesMasterIdLst>
  <p:handoutMasterIdLst>
    <p:handoutMasterId r:id="rId7"/>
  </p:handoutMasterIdLst>
  <p:sldIdLst>
    <p:sldId id="337" r:id="rId4"/>
    <p:sldId id="339" r:id="rId5"/>
  </p:sldIdLst>
  <p:sldSz cx="8961438" cy="6721475"/>
  <p:notesSz cx="6797675" cy="9926638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0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20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30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41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516" algn="l" defTabSz="91420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618" algn="l" defTabSz="91420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99722" algn="l" defTabSz="91420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6824" algn="l" defTabSz="91420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DC5"/>
    <a:srgbClr val="FF6600"/>
    <a:srgbClr val="FFD0B3"/>
    <a:srgbClr val="0065CC"/>
    <a:srgbClr val="A0FF2D"/>
    <a:srgbClr val="FFFFFF"/>
    <a:srgbClr val="FF3399"/>
    <a:srgbClr val="FFEADD"/>
    <a:srgbClr val="F8F8F8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1" autoAdjust="0"/>
    <p:restoredTop sz="77620" autoAdjust="0"/>
  </p:normalViewPr>
  <p:slideViewPr>
    <p:cSldViewPr snapToGrid="0" snapToObjects="1">
      <p:cViewPr>
        <p:scale>
          <a:sx n="90" d="100"/>
          <a:sy n="90" d="100"/>
        </p:scale>
        <p:origin x="-1074" y="342"/>
      </p:cViewPr>
      <p:guideLst>
        <p:guide orient="horz" pos="2106"/>
        <p:guide pos="2832"/>
      </p:guideLst>
    </p:cSldViewPr>
  </p:slideViewPr>
  <p:outlineViewPr>
    <p:cViewPr>
      <p:scale>
        <a:sx n="33" d="100"/>
        <a:sy n="33" d="100"/>
      </p:scale>
      <p:origin x="36" y="20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-2976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1362" cy="43672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79"/>
            <a:ext cx="5792746" cy="1272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0044"/>
            <a:ext cx="539269" cy="19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7" y="11073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50" indent="-115863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9974" indent="-180936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48" indent="-125387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09" indent="-114276" algn="l" defTabSz="89516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0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2777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693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04693" eaLnBrk="0" hangingPunct="0"/>
              <a:r>
                <a:rPr lang="en-GB" sz="80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and Company is strictly prohibited</a:t>
              </a:r>
              <a:endParaRPr lang="en-GB" sz="800" dirty="0"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16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305552"/>
            <a:ext cx="8959850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en-GB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863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173796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8275" y="1951039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85206" y="6394450"/>
            <a:ext cx="195263" cy="152400"/>
          </a:xfrm>
          <a:prstGeom prst="rect">
            <a:avLst/>
          </a:prstGeom>
        </p:spPr>
        <p:txBody>
          <a:bodyPr lIns="89592" tIns="44797" rIns="89592" bIns="44797"/>
          <a:lstStyle>
            <a:lvl1pPr>
              <a:defRPr/>
            </a:lvl1pPr>
          </a:lstStyle>
          <a:p>
            <a:fld id="{049F76FC-34B7-4BFC-94B1-D991283ED954}" type="slidenum">
              <a:rPr lang="en-GB">
                <a:solidFill>
                  <a:srgbClr val="000000"/>
                </a:solidFill>
              </a:rPr>
              <a:pPr/>
              <a:t>‹#›</a:t>
            </a:fld>
            <a:r>
              <a:rPr lang="en-GB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470E4740-E70A-4130-ABC0-0E04ED1F8A25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92C0D632-39FF-478A-93DD-EE634EC6CBD5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0C3CE35A-801B-4441-AE94-DDBA36E75FC1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F4D00C3-4675-4B00-B5F5-373B68C76995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A41A1BB1-2233-4654-B427-E09E46BEB1B7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80E6448-0517-4BE0-98AC-C3B5C2261DEB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F912AFB-18FB-408B-84CA-B2DE54D5A92B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1AF3E16-529B-4886-BD40-F07640459B4B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5703B40-8B95-42D9-B658-954DA619AEAA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DD231A4-F860-4AEE-8235-EF10821018D0}" type="slidenum">
              <a:rPr lang="en-ZA" sz="1000" smtClean="0">
                <a:solidFill>
                  <a:srgbClr val="000000"/>
                </a:solidFill>
              </a:rPr>
              <a:pPr/>
              <a:t>‹#›</a:t>
            </a:fld>
            <a:endParaRPr lang="en-ZA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4735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10550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60719" y="1364776"/>
            <a:ext cx="8640000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2pPr marL="182563" indent="-180975">
              <a:buClrTx/>
              <a:buSzPct val="120000"/>
              <a:buFont typeface="Arial" pitchFamily="34" charset="0"/>
              <a:buChar char="•"/>
              <a:defRPr/>
            </a:lvl2pPr>
            <a:lvl3pPr marL="358775" indent="-176213">
              <a:buClrTx/>
              <a:buSzPct val="100000"/>
              <a:buFont typeface="Calibri" pitchFamily="34" charset="0"/>
              <a:buChar char="–"/>
              <a:defRPr/>
            </a:lvl3pPr>
            <a:lvl4pPr marL="541338" indent="-182563">
              <a:buClrTx/>
              <a:buSzPct val="90000"/>
              <a:buFont typeface="Arial" pitchFamily="34" charset="0"/>
              <a:buChar char="•"/>
              <a:defRPr/>
            </a:lvl4pPr>
            <a:lvl5pPr marL="715963" indent="-174625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0719" y="230188"/>
            <a:ext cx="8640000" cy="307777"/>
          </a:xfrm>
        </p:spPr>
        <p:txBody>
          <a:bodyPr/>
          <a:lstStyle>
            <a:lvl1pPr>
              <a:tabLst/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60719" y="6487626"/>
            <a:ext cx="6349619" cy="15388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539750" indent="-539750">
              <a:tabLst>
                <a:tab pos="447675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 smtClean="0"/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2820065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6017" eaLnBrk="1" hangingPunct="1"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6017" eaLnBrk="1" hangingPunct="1"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2777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693" eaLnBrk="0" hangingPunct="0"/>
              <a:r>
                <a:rPr lang="en-GB" sz="8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04693" eaLnBrk="0" hangingPunct="0"/>
              <a:r>
                <a:rPr lang="en-GB" sz="8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and Company is strictly prohibited</a:t>
              </a:r>
              <a:endParaRPr lang="en-GB" sz="8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017"/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017"/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6017"/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305552"/>
            <a:ext cx="8959850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pPr defTabSz="896017"/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504422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60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60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558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09181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8275" y="1951039"/>
            <a:ext cx="4302125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85206" y="6394450"/>
            <a:ext cx="195263" cy="152400"/>
          </a:xfrm>
          <a:prstGeom prst="rect">
            <a:avLst/>
          </a:prstGeom>
        </p:spPr>
        <p:txBody>
          <a:bodyPr lIns="89592" tIns="44797" rIns="89592" bIns="44797"/>
          <a:lstStyle>
            <a:lvl1pPr>
              <a:defRPr/>
            </a:lvl1pPr>
          </a:lstStyle>
          <a:p>
            <a:pPr defTabSz="896017"/>
            <a:fld id="{049F76FC-34B7-4BFC-94B1-D991283ED954}" type="slidenum">
              <a:rPr lang="en-GB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r>
              <a:rPr lang="en-GB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470E4740-E70A-4130-ABC0-0E04ED1F8A25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92C0D632-39FF-478A-93DD-EE634EC6CBD5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0C3CE35A-801B-4441-AE94-DDBA36E75FC1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2F4D00C3-4675-4B00-B5F5-373B68C76995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A41A1BB1-2233-4654-B427-E09E46BEB1B7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C80E6448-0517-4BE0-98AC-C3B5C2261DEB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2F912AFB-18FB-408B-84CA-B2DE54D5A92B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21AF3E16-529B-4886-BD40-F07640459B4B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85703B40-8B95-42D9-B658-954DA619AEAA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6017"/>
            <a:fld id="{2DD231A4-F860-4AEE-8235-EF10821018D0}" type="slidenum">
              <a:rPr lang="en-ZA" sz="1000" smtClean="0">
                <a:solidFill>
                  <a:srgbClr val="000000"/>
                </a:solidFill>
                <a:latin typeface="Arial"/>
              </a:rPr>
              <a:pPr defTabSz="896017"/>
              <a:t>‹#›</a:t>
            </a:fld>
            <a:endParaRPr lang="en-ZA" sz="10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634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2777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693" eaLnBrk="0" hangingPunct="0"/>
              <a:r>
                <a:rPr lang="en-GB" sz="8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CONFIDENTIAL AND PROPRIETARY</a:t>
              </a:r>
            </a:p>
            <a:p>
              <a:pPr defTabSz="804693" eaLnBrk="0" hangingPunct="0"/>
              <a:r>
                <a:rPr lang="en-GB" sz="8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Any use of this material without specific permission of McKinsey and Company is strictly prohibited</a:t>
              </a:r>
              <a:endParaRPr lang="en-GB" sz="8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6305552"/>
            <a:ext cx="8959850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1760360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099568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7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8275" y="195104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50" y="230188"/>
            <a:ext cx="865379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baseline="0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defTabSz="895160">
                <a:tabLst>
                  <a:tab pos="612645" algn="l"/>
                </a:tabLst>
              </a:pPr>
              <a:r>
                <a:rPr lang="en-GB" sz="1000" baseline="0" dirty="0" smtClean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baseline="0" dirty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7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16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22" name="Rectangle 21"/>
          <p:cNvSpPr/>
          <p:nvPr/>
        </p:nvSpPr>
        <p:spPr>
          <a:xfrm>
            <a:off x="-10318" y="6239434"/>
            <a:ext cx="8971756" cy="45719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bg2">
                  <a:lumMod val="95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8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61874" algn="l"/>
        </a:tabLst>
        <a:defRPr sz="19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826571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8275" y="195104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50" y="230188"/>
            <a:ext cx="865379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017"/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defTabSz="895160">
                <a:tabLst>
                  <a:tab pos="612645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6017"/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896017"/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7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16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2" name="Rectangle 21"/>
          <p:cNvSpPr/>
          <p:nvPr/>
        </p:nvSpPr>
        <p:spPr>
          <a:xfrm>
            <a:off x="-10318" y="6239434"/>
            <a:ext cx="8971756" cy="45719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bg2">
                  <a:lumMod val="95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 defTabSz="896017"/>
            <a:endParaRPr lang="en-US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925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61874" algn="l"/>
        </a:tabLst>
        <a:defRPr sz="19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26373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978275" y="195104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8750" y="230188"/>
            <a:ext cx="865379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72" indent="-609472" defTabSz="895160">
                <a:tabLst>
                  <a:tab pos="612645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419112" y="6403977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16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22" name="Rectangle 21"/>
          <p:cNvSpPr/>
          <p:nvPr/>
        </p:nvSpPr>
        <p:spPr>
          <a:xfrm>
            <a:off x="-10318" y="6239434"/>
            <a:ext cx="8971756" cy="45719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bg2">
                  <a:lumMod val="9500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108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61874" algn="l"/>
        </a:tabLst>
        <a:defRPr sz="19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 txBox="1">
            <a:spLocks/>
          </p:cNvSpPr>
          <p:nvPr/>
        </p:nvSpPr>
        <p:spPr bwMode="gray">
          <a:xfrm>
            <a:off x="590550" y="295275"/>
            <a:ext cx="8378825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00" b="1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lang="en-US" i="1" kern="0" dirty="0" smtClean="0">
                <a:solidFill>
                  <a:srgbClr val="00597E"/>
                </a:solidFill>
                <a:latin typeface="Arial"/>
              </a:rPr>
              <a:t>Entry Point Plan: Cluster Hamburg (finfish/shellfish) </a:t>
            </a: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597E"/>
                </a:solidFill>
                <a:effectLst/>
                <a:uLnTx/>
                <a:uFillTx/>
                <a:latin typeface="Arial"/>
                <a:ea typeface="+mj-ea"/>
                <a:cs typeface="Arial" panose="020B0604020202020204" pitchFamily="34" charset="0"/>
              </a:rPr>
              <a:t>– Charter</a:t>
            </a:r>
          </a:p>
        </p:txBody>
      </p:sp>
      <p:cxnSp>
        <p:nvCxnSpPr>
          <p:cNvPr id="23" name="Straight Connector 22"/>
          <p:cNvCxnSpPr/>
          <p:nvPr/>
        </p:nvCxnSpPr>
        <p:spPr>
          <a:xfrm flipV="1">
            <a:off x="6637338" y="1492250"/>
            <a:ext cx="0" cy="478155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sp>
        <p:nvSpPr>
          <p:cNvPr id="24" name="TextBox 42"/>
          <p:cNvSpPr txBox="1">
            <a:spLocks noChangeArrowheads="1"/>
          </p:cNvSpPr>
          <p:nvPr/>
        </p:nvSpPr>
        <p:spPr bwMode="auto">
          <a:xfrm>
            <a:off x="209550" y="1726084"/>
            <a:ext cx="3181350" cy="323165"/>
          </a:xfrm>
          <a:prstGeom prst="rect">
            <a:avLst/>
          </a:prstGeom>
          <a:extLst/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45720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sz="1050" kern="0" dirty="0" smtClean="0">
              <a:solidFill>
                <a:srgbClr val="000000"/>
              </a:solidFill>
              <a:latin typeface="Arial"/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charset="0"/>
            </a:endParaRPr>
          </a:p>
        </p:txBody>
      </p:sp>
      <p:sp>
        <p:nvSpPr>
          <p:cNvPr id="25" name="RbNavigator"/>
          <p:cNvSpPr/>
          <p:nvPr/>
        </p:nvSpPr>
        <p:spPr>
          <a:xfrm>
            <a:off x="188913" y="279400"/>
            <a:ext cx="323850" cy="323850"/>
          </a:xfrm>
          <a:prstGeom prst="rect">
            <a:avLst/>
          </a:prstGeom>
          <a:solidFill>
            <a:srgbClr val="00597E"/>
          </a:solidFill>
          <a:ln w="9525" cap="flat" cmpd="sng" algn="ctr">
            <a:solidFill>
              <a:srgbClr val="00597E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1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.1</a:t>
            </a:r>
            <a:endParaRPr kumimoji="1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88913" y="750888"/>
            <a:ext cx="8710612" cy="549275"/>
          </a:xfrm>
          <a:prstGeom prst="rect">
            <a:avLst/>
          </a:prstGeom>
          <a:solidFill>
            <a:srgbClr val="C7E0FB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51"/>
          <p:cNvSpPr txBox="1">
            <a:spLocks noChangeArrowheads="1"/>
          </p:cNvSpPr>
          <p:nvPr/>
        </p:nvSpPr>
        <p:spPr bwMode="auto">
          <a:xfrm>
            <a:off x="298450" y="838200"/>
            <a:ext cx="85042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 smtClean="0">
                <a:solidFill>
                  <a:srgbClr val="000000"/>
                </a:solidFill>
              </a:rPr>
              <a:t>Facilitate expansion projects to expedite start of production, enabling growth of overall cluster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734175" y="2172583"/>
            <a:ext cx="1013098" cy="246221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rPr>
              <a:t>Sponsors</a:t>
            </a: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rPr>
              <a:t>: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782463" y="1354435"/>
            <a:ext cx="2117062" cy="5847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rPr>
              <a:t>Initiative owners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ZA" sz="1100" dirty="0"/>
          </a:p>
          <a:p>
            <a:pPr marL="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MY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34175" y="3860925"/>
            <a:ext cx="2011362" cy="49244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rPr>
              <a:t>Other key stakeholders</a:t>
            </a: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rPr>
              <a:t>: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2" name="TextBox 105"/>
          <p:cNvSpPr txBox="1">
            <a:spLocks noChangeArrowheads="1"/>
          </p:cNvSpPr>
          <p:nvPr/>
        </p:nvSpPr>
        <p:spPr bwMode="auto">
          <a:xfrm>
            <a:off x="209550" y="1307584"/>
            <a:ext cx="206947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 smtClean="0">
                <a:solidFill>
                  <a:srgbClr val="000000"/>
                </a:solidFill>
              </a:rPr>
              <a:t>Current Issues / Challenges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106"/>
          <p:cNvSpPr txBox="1">
            <a:spLocks noChangeArrowheads="1"/>
          </p:cNvSpPr>
          <p:nvPr/>
        </p:nvSpPr>
        <p:spPr bwMode="auto">
          <a:xfrm>
            <a:off x="3436939" y="1307584"/>
            <a:ext cx="14619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bjectives / Target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4" name="Horizontal Line"/>
          <p:cNvCxnSpPr/>
          <p:nvPr/>
        </p:nvCxnSpPr>
        <p:spPr>
          <a:xfrm>
            <a:off x="188686" y="1676916"/>
            <a:ext cx="3017837" cy="0"/>
          </a:xfrm>
          <a:prstGeom prst="line">
            <a:avLst/>
          </a:prstGeom>
          <a:noFill/>
          <a:ln w="22225" cap="flat" cmpd="sng" algn="ctr">
            <a:solidFill>
              <a:srgbClr val="0066CC"/>
            </a:solidFill>
            <a:prstDash val="solid"/>
            <a:tailEnd type="none" w="lg" len="lg"/>
          </a:ln>
          <a:effectLst/>
        </p:spPr>
      </p:cxnSp>
      <p:cxnSp>
        <p:nvCxnSpPr>
          <p:cNvPr id="35" name="Horizontal Line"/>
          <p:cNvCxnSpPr/>
          <p:nvPr/>
        </p:nvCxnSpPr>
        <p:spPr>
          <a:xfrm>
            <a:off x="3516313" y="1676916"/>
            <a:ext cx="3017838" cy="0"/>
          </a:xfrm>
          <a:prstGeom prst="line">
            <a:avLst/>
          </a:prstGeom>
          <a:noFill/>
          <a:ln w="22225" cap="flat" cmpd="sng" algn="ctr">
            <a:solidFill>
              <a:srgbClr val="0066CC"/>
            </a:solidFill>
            <a:prstDash val="solid"/>
            <a:tailEnd type="none" w="lg" len="lg"/>
          </a:ln>
          <a:effectLst/>
        </p:spPr>
      </p:cxnSp>
      <p:sp>
        <p:nvSpPr>
          <p:cNvPr id="36" name="AutoShape 35"/>
          <p:cNvSpPr>
            <a:spLocks noChangeArrowheads="1"/>
          </p:cNvSpPr>
          <p:nvPr/>
        </p:nvSpPr>
        <p:spPr bwMode="auto">
          <a:xfrm rot="5400000">
            <a:off x="2959895" y="2326481"/>
            <a:ext cx="811212" cy="142875"/>
          </a:xfrm>
          <a:prstGeom prst="triangle">
            <a:avLst>
              <a:gd name="adj" fmla="val 50000"/>
            </a:avLst>
          </a:prstGeom>
          <a:solidFill>
            <a:srgbClr val="C7E0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8" name="Group 11"/>
          <p:cNvGrpSpPr/>
          <p:nvPr/>
        </p:nvGrpSpPr>
        <p:grpSpPr>
          <a:xfrm>
            <a:off x="8420534" y="144218"/>
            <a:ext cx="380348" cy="547417"/>
            <a:chOff x="250825" y="171450"/>
            <a:chExt cx="339725" cy="488950"/>
          </a:xfrm>
          <a:solidFill>
            <a:srgbClr val="00597E"/>
          </a:solidFill>
        </p:grpSpPr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250825" y="171450"/>
              <a:ext cx="339725" cy="488950"/>
            </a:xfrm>
            <a:custGeom>
              <a:avLst/>
              <a:gdLst/>
              <a:ahLst/>
              <a:cxnLst>
                <a:cxn ang="0">
                  <a:pos x="209" y="46"/>
                </a:cxn>
                <a:cxn ang="0">
                  <a:pos x="194" y="41"/>
                </a:cxn>
                <a:cxn ang="0">
                  <a:pos x="119" y="20"/>
                </a:cxn>
                <a:cxn ang="0">
                  <a:pos x="53" y="0"/>
                </a:cxn>
                <a:cxn ang="0">
                  <a:pos x="53" y="0"/>
                </a:cxn>
                <a:cxn ang="0">
                  <a:pos x="51" y="0"/>
                </a:cxn>
                <a:cxn ang="0">
                  <a:pos x="49" y="1"/>
                </a:cxn>
                <a:cxn ang="0">
                  <a:pos x="2" y="37"/>
                </a:cxn>
                <a:cxn ang="0">
                  <a:pos x="2" y="37"/>
                </a:cxn>
                <a:cxn ang="0">
                  <a:pos x="0" y="39"/>
                </a:cxn>
                <a:cxn ang="0">
                  <a:pos x="0" y="42"/>
                </a:cxn>
                <a:cxn ang="0">
                  <a:pos x="0" y="261"/>
                </a:cxn>
                <a:cxn ang="0">
                  <a:pos x="25" y="269"/>
                </a:cxn>
                <a:cxn ang="0">
                  <a:pos x="125" y="297"/>
                </a:cxn>
                <a:cxn ang="0">
                  <a:pos x="161" y="308"/>
                </a:cxn>
                <a:cxn ang="0">
                  <a:pos x="161" y="297"/>
                </a:cxn>
                <a:cxn ang="0">
                  <a:pos x="161" y="87"/>
                </a:cxn>
                <a:cxn ang="0">
                  <a:pos x="25" y="47"/>
                </a:cxn>
                <a:cxn ang="0">
                  <a:pos x="12" y="43"/>
                </a:cxn>
                <a:cxn ang="0">
                  <a:pos x="25" y="33"/>
                </a:cxn>
                <a:cxn ang="0">
                  <a:pos x="44" y="20"/>
                </a:cxn>
                <a:cxn ang="0">
                  <a:pos x="53" y="13"/>
                </a:cxn>
                <a:cxn ang="0">
                  <a:pos x="77" y="20"/>
                </a:cxn>
                <a:cxn ang="0">
                  <a:pos x="194" y="54"/>
                </a:cxn>
                <a:cxn ang="0">
                  <a:pos x="201" y="56"/>
                </a:cxn>
                <a:cxn ang="0">
                  <a:pos x="201" y="273"/>
                </a:cxn>
                <a:cxn ang="0">
                  <a:pos x="201" y="273"/>
                </a:cxn>
                <a:cxn ang="0">
                  <a:pos x="202" y="275"/>
                </a:cxn>
                <a:cxn ang="0">
                  <a:pos x="203" y="277"/>
                </a:cxn>
                <a:cxn ang="0">
                  <a:pos x="205" y="278"/>
                </a:cxn>
                <a:cxn ang="0">
                  <a:pos x="207" y="279"/>
                </a:cxn>
                <a:cxn ang="0">
                  <a:pos x="207" y="279"/>
                </a:cxn>
                <a:cxn ang="0">
                  <a:pos x="209" y="278"/>
                </a:cxn>
                <a:cxn ang="0">
                  <a:pos x="211" y="277"/>
                </a:cxn>
                <a:cxn ang="0">
                  <a:pos x="213" y="275"/>
                </a:cxn>
                <a:cxn ang="0">
                  <a:pos x="214" y="273"/>
                </a:cxn>
                <a:cxn ang="0">
                  <a:pos x="214" y="51"/>
                </a:cxn>
                <a:cxn ang="0">
                  <a:pos x="214" y="51"/>
                </a:cxn>
                <a:cxn ang="0">
                  <a:pos x="211" y="48"/>
                </a:cxn>
                <a:cxn ang="0">
                  <a:pos x="209" y="46"/>
                </a:cxn>
                <a:cxn ang="0">
                  <a:pos x="209" y="46"/>
                </a:cxn>
              </a:cxnLst>
              <a:rect l="0" t="0" r="r" b="b"/>
              <a:pathLst>
                <a:path w="214" h="308">
                  <a:moveTo>
                    <a:pt x="209" y="46"/>
                  </a:moveTo>
                  <a:lnTo>
                    <a:pt x="194" y="41"/>
                  </a:lnTo>
                  <a:lnTo>
                    <a:pt x="119" y="2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9" y="1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261"/>
                  </a:lnTo>
                  <a:lnTo>
                    <a:pt x="25" y="269"/>
                  </a:lnTo>
                  <a:lnTo>
                    <a:pt x="125" y="297"/>
                  </a:lnTo>
                  <a:lnTo>
                    <a:pt x="161" y="308"/>
                  </a:lnTo>
                  <a:lnTo>
                    <a:pt x="161" y="297"/>
                  </a:lnTo>
                  <a:lnTo>
                    <a:pt x="161" y="87"/>
                  </a:lnTo>
                  <a:lnTo>
                    <a:pt x="25" y="47"/>
                  </a:lnTo>
                  <a:lnTo>
                    <a:pt x="12" y="43"/>
                  </a:lnTo>
                  <a:lnTo>
                    <a:pt x="25" y="33"/>
                  </a:lnTo>
                  <a:lnTo>
                    <a:pt x="44" y="20"/>
                  </a:lnTo>
                  <a:lnTo>
                    <a:pt x="53" y="13"/>
                  </a:lnTo>
                  <a:lnTo>
                    <a:pt x="77" y="20"/>
                  </a:lnTo>
                  <a:lnTo>
                    <a:pt x="194" y="54"/>
                  </a:lnTo>
                  <a:lnTo>
                    <a:pt x="201" y="56"/>
                  </a:lnTo>
                  <a:lnTo>
                    <a:pt x="201" y="273"/>
                  </a:lnTo>
                  <a:lnTo>
                    <a:pt x="201" y="273"/>
                  </a:lnTo>
                  <a:lnTo>
                    <a:pt x="202" y="275"/>
                  </a:lnTo>
                  <a:lnTo>
                    <a:pt x="203" y="277"/>
                  </a:lnTo>
                  <a:lnTo>
                    <a:pt x="205" y="278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9" y="278"/>
                  </a:lnTo>
                  <a:lnTo>
                    <a:pt x="211" y="277"/>
                  </a:lnTo>
                  <a:lnTo>
                    <a:pt x="213" y="275"/>
                  </a:lnTo>
                  <a:lnTo>
                    <a:pt x="214" y="273"/>
                  </a:lnTo>
                  <a:lnTo>
                    <a:pt x="214" y="51"/>
                  </a:lnTo>
                  <a:lnTo>
                    <a:pt x="214" y="51"/>
                  </a:lnTo>
                  <a:lnTo>
                    <a:pt x="211" y="48"/>
                  </a:lnTo>
                  <a:lnTo>
                    <a:pt x="209" y="46"/>
                  </a:lnTo>
                  <a:lnTo>
                    <a:pt x="209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290513" y="203200"/>
              <a:ext cx="268288" cy="4397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143" y="60"/>
                </a:cxn>
                <a:cxn ang="0">
                  <a:pos x="143" y="277"/>
                </a:cxn>
                <a:cxn ang="0">
                  <a:pos x="169" y="259"/>
                </a:cxn>
                <a:cxn ang="0">
                  <a:pos x="169" y="40"/>
                </a:cxn>
                <a:cxn ang="0">
                  <a:pos x="30" y="0"/>
                </a:cxn>
                <a:cxn ang="0">
                  <a:pos x="0" y="21"/>
                </a:cxn>
              </a:cxnLst>
              <a:rect l="0" t="0" r="r" b="b"/>
              <a:pathLst>
                <a:path w="169" h="277">
                  <a:moveTo>
                    <a:pt x="0" y="21"/>
                  </a:moveTo>
                  <a:lnTo>
                    <a:pt x="143" y="60"/>
                  </a:lnTo>
                  <a:lnTo>
                    <a:pt x="143" y="277"/>
                  </a:lnTo>
                  <a:lnTo>
                    <a:pt x="169" y="259"/>
                  </a:lnTo>
                  <a:lnTo>
                    <a:pt x="169" y="40"/>
                  </a:lnTo>
                  <a:lnTo>
                    <a:pt x="30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3670300" y="4834981"/>
            <a:ext cx="2984500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1000" dirty="0" smtClean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171450" indent="-171450">
              <a:defRPr/>
            </a:pPr>
            <a:endParaRPr lang="en-US" sz="1000" dirty="0" smtClean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09550" y="4650315"/>
            <a:ext cx="169277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ey initiatives required</a:t>
            </a:r>
          </a:p>
        </p:txBody>
      </p:sp>
      <p:cxnSp>
        <p:nvCxnSpPr>
          <p:cNvPr id="88" name="Horizontal Line"/>
          <p:cNvCxnSpPr/>
          <p:nvPr/>
        </p:nvCxnSpPr>
        <p:spPr>
          <a:xfrm>
            <a:off x="275463" y="4650315"/>
            <a:ext cx="6322951" cy="0"/>
          </a:xfrm>
          <a:prstGeom prst="line">
            <a:avLst/>
          </a:prstGeom>
          <a:noFill/>
          <a:ln w="22225" cap="flat" cmpd="sng" algn="ctr">
            <a:solidFill>
              <a:srgbClr val="0066CC"/>
            </a:solidFill>
            <a:prstDash val="solid"/>
            <a:tailEnd type="none" w="lg" len="lg"/>
          </a:ln>
          <a:effectLst/>
        </p:spPr>
      </p:cxnSp>
      <p:sp>
        <p:nvSpPr>
          <p:cNvPr id="89" name="AutoShape 35"/>
          <p:cNvSpPr>
            <a:spLocks noChangeArrowheads="1"/>
          </p:cNvSpPr>
          <p:nvPr/>
        </p:nvSpPr>
        <p:spPr bwMode="auto">
          <a:xfrm rot="10800000">
            <a:off x="2586364" y="4125503"/>
            <a:ext cx="1527594" cy="171357"/>
          </a:xfrm>
          <a:prstGeom prst="triangle">
            <a:avLst>
              <a:gd name="adj" fmla="val 50000"/>
            </a:avLst>
          </a:prstGeom>
          <a:solidFill>
            <a:srgbClr val="C7E0FB"/>
          </a:solidFill>
          <a:ln>
            <a:noFill/>
          </a:ln>
        </p:spPr>
        <p:txBody>
          <a:bodyPr rot="10800000" vert="eaVert"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704183" y="4314881"/>
            <a:ext cx="151483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otential Challenges</a:t>
            </a:r>
          </a:p>
        </p:txBody>
      </p:sp>
    </p:spTree>
    <p:extLst>
      <p:ext uri="{BB962C8B-B14F-4D97-AF65-F5344CB8AC3E}">
        <p14:creationId xmlns:p14="http://schemas.microsoft.com/office/powerpoint/2010/main" val="3512940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0719" y="230188"/>
            <a:ext cx="8640000" cy="292388"/>
          </a:xfrm>
        </p:spPr>
        <p:txBody>
          <a:bodyPr/>
          <a:lstStyle/>
          <a:p>
            <a:endParaRPr lang="en-MY" dirty="0"/>
          </a:p>
        </p:txBody>
      </p:sp>
      <p:sp>
        <p:nvSpPr>
          <p:cNvPr id="43" name="Rounded Rectangle 42"/>
          <p:cNvSpPr/>
          <p:nvPr/>
        </p:nvSpPr>
        <p:spPr>
          <a:xfrm>
            <a:off x="-3674" y="522576"/>
            <a:ext cx="8763000" cy="750879"/>
          </a:xfrm>
          <a:prstGeom prst="roundRect">
            <a:avLst/>
          </a:prstGeom>
          <a:solidFill>
            <a:srgbClr val="C7E0F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674830" y="2116743"/>
            <a:ext cx="3200399" cy="1424944"/>
          </a:xfrm>
          <a:prstGeom prst="rect">
            <a:avLst/>
          </a:prstGeom>
          <a:noFill/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684933" y="4228771"/>
            <a:ext cx="3200399" cy="1781629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-3674" y="1273455"/>
            <a:ext cx="5594475" cy="4723565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5684933" y="2116743"/>
            <a:ext cx="3106268" cy="3608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39" marR="0" lvl="1" indent="-182539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2539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6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SimSun" pitchFamily="2" charset="-122"/>
                <a:cs typeface="Arial"/>
              </a:rPr>
              <a:t>Key stakeholders identified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SimSun" pitchFamily="2" charset="-122"/>
              <a:cs typeface="Arial"/>
            </a:endParaRPr>
          </a:p>
        </p:txBody>
      </p:sp>
      <p:sp>
        <p:nvSpPr>
          <p:cNvPr id="48" name="Rectangle 47"/>
          <p:cNvSpPr/>
          <p:nvPr/>
        </p:nvSpPr>
        <p:spPr bwMode="auto">
          <a:xfrm>
            <a:off x="5694451" y="4236833"/>
            <a:ext cx="3106268" cy="3608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6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SimSun" pitchFamily="2" charset="-122"/>
                <a:cs typeface="Arial"/>
              </a:rPr>
              <a:t>Implementation timefram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SimSun" pitchFamily="2" charset="-122"/>
              <a:cs typeface="Arial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674830" y="3511128"/>
            <a:ext cx="3200399" cy="725705"/>
          </a:xfrm>
          <a:prstGeom prst="rect">
            <a:avLst/>
          </a:prstGeom>
          <a:noFill/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5684933" y="3592077"/>
            <a:ext cx="3106268" cy="3608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39" marR="0" lvl="1" indent="-182539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2539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6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SimSun" pitchFamily="2" charset="-122"/>
                <a:cs typeface="Arial"/>
              </a:rPr>
              <a:t>Required resourc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SimSun" pitchFamily="2" charset="-122"/>
              <a:cs typeface="Arial"/>
            </a:endParaRPr>
          </a:p>
        </p:txBody>
      </p:sp>
      <p:sp>
        <p:nvSpPr>
          <p:cNvPr id="53" name="TextBox 18"/>
          <p:cNvSpPr txBox="1"/>
          <p:nvPr/>
        </p:nvSpPr>
        <p:spPr>
          <a:xfrm>
            <a:off x="5674830" y="2384747"/>
            <a:ext cx="3272759" cy="108836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7731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ZA" sz="800" dirty="0" smtClean="0"/>
          </a:p>
          <a:p>
            <a:pPr marL="185738" indent="-185738" defTabSz="977316" fontAlgn="auto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GB" sz="1000" dirty="0" smtClean="0"/>
          </a:p>
          <a:p>
            <a:pPr marL="185738" indent="-185738" defTabSz="977316" fontAlgn="auto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ZA" sz="1000" dirty="0" smtClean="0"/>
          </a:p>
          <a:p>
            <a:pPr marL="185738" marR="0" lvl="0" indent="-185738" algn="l" defTabSz="97731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85738" marR="0" lvl="0" indent="-185738" algn="l" defTabSz="977316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5674830" y="4966104"/>
            <a:ext cx="3106268" cy="3608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6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SimSun" pitchFamily="2" charset="-122"/>
                <a:cs typeface="Arial"/>
              </a:rPr>
              <a:t>Key mileston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SimSun" pitchFamily="2" charset="-122"/>
              <a:cs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5667001" y="1360479"/>
            <a:ext cx="3200399" cy="725705"/>
          </a:xfrm>
          <a:prstGeom prst="rect">
            <a:avLst/>
          </a:prstGeom>
          <a:noFill/>
          <a:ln w="2857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Y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5684933" y="1332151"/>
            <a:ext cx="3106268" cy="36086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39" marR="0" lvl="1" indent="-182539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2539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960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SimSun" pitchFamily="2" charset="-122"/>
                <a:cs typeface="Arial"/>
              </a:rPr>
              <a:t>Implementing agency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60000"/>
                  <a:lumOff val="40000"/>
                </a:srgbClr>
              </a:solidFill>
              <a:effectLst/>
              <a:uLnTx/>
              <a:uFillTx/>
              <a:latin typeface="Arial"/>
              <a:ea typeface="SimSun" pitchFamily="2" charset="-122"/>
              <a:cs typeface="Arial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859588" y="5994288"/>
            <a:ext cx="1846158" cy="680772"/>
            <a:chOff x="122544" y="4403242"/>
            <a:chExt cx="1846158" cy="680772"/>
          </a:xfrm>
        </p:grpSpPr>
        <p:sp>
          <p:nvSpPr>
            <p:cNvPr id="67" name="TextBox 66"/>
            <p:cNvSpPr txBox="1"/>
            <p:nvPr/>
          </p:nvSpPr>
          <p:spPr>
            <a:xfrm>
              <a:off x="201092" y="4403242"/>
              <a:ext cx="54662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Impact: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122544" y="4740896"/>
              <a:ext cx="1803575" cy="343118"/>
              <a:chOff x="6923771" y="4805360"/>
              <a:chExt cx="1803575" cy="343118"/>
            </a:xfrm>
          </p:grpSpPr>
          <p:grpSp>
            <p:nvGrpSpPr>
              <p:cNvPr id="83" name="Group 82"/>
              <p:cNvGrpSpPr/>
              <p:nvPr/>
            </p:nvGrpSpPr>
            <p:grpSpPr>
              <a:xfrm>
                <a:off x="6963939" y="4805360"/>
                <a:ext cx="1715503" cy="182880"/>
                <a:chOff x="6963939" y="4738686"/>
                <a:chExt cx="1715503" cy="182880"/>
              </a:xfrm>
            </p:grpSpPr>
            <p:cxnSp>
              <p:nvCxnSpPr>
                <p:cNvPr id="87" name="Straight Connector 86"/>
                <p:cNvCxnSpPr/>
                <p:nvPr/>
              </p:nvCxnSpPr>
              <p:spPr>
                <a:xfrm flipV="1">
                  <a:off x="6973464" y="4831080"/>
                  <a:ext cx="1699628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88" name="Straight Connector 87"/>
                <p:cNvCxnSpPr/>
                <p:nvPr/>
              </p:nvCxnSpPr>
              <p:spPr>
                <a:xfrm>
                  <a:off x="6963939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89" name="Straight Connector 88"/>
                <p:cNvCxnSpPr/>
                <p:nvPr/>
              </p:nvCxnSpPr>
              <p:spPr>
                <a:xfrm>
                  <a:off x="8679442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90" name="Straight Connector 89"/>
                <p:cNvCxnSpPr/>
                <p:nvPr/>
              </p:nvCxnSpPr>
              <p:spPr>
                <a:xfrm>
                  <a:off x="7821691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91" name="Straight Connector 90"/>
                <p:cNvCxnSpPr/>
                <p:nvPr/>
              </p:nvCxnSpPr>
              <p:spPr>
                <a:xfrm>
                  <a:off x="7392815" y="4761546"/>
                  <a:ext cx="0" cy="13716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92" name="Straight Connector 91"/>
                <p:cNvCxnSpPr/>
                <p:nvPr/>
              </p:nvCxnSpPr>
              <p:spPr>
                <a:xfrm>
                  <a:off x="8250567" y="4761546"/>
                  <a:ext cx="0" cy="13716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</p:grpSp>
          <p:sp>
            <p:nvSpPr>
              <p:cNvPr id="84" name="TextBox 83"/>
              <p:cNvSpPr txBox="1"/>
              <p:nvPr/>
            </p:nvSpPr>
            <p:spPr>
              <a:xfrm>
                <a:off x="6923771" y="4994590"/>
                <a:ext cx="7854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L</a:t>
                </a:r>
              </a:p>
            </p:txBody>
          </p:sp>
          <p:sp>
            <p:nvSpPr>
              <p:cNvPr id="85" name="TextBox 84"/>
              <p:cNvSpPr txBox="1"/>
              <p:nvPr/>
            </p:nvSpPr>
            <p:spPr>
              <a:xfrm>
                <a:off x="7771766" y="4994590"/>
                <a:ext cx="10740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M</a:t>
                </a:r>
              </a:p>
            </p:txBody>
          </p:sp>
          <p:sp>
            <p:nvSpPr>
              <p:cNvPr id="86" name="TextBox 85"/>
              <p:cNvSpPr txBox="1"/>
              <p:nvPr/>
            </p:nvSpPr>
            <p:spPr>
              <a:xfrm>
                <a:off x="8634372" y="4994590"/>
                <a:ext cx="9297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sp>
          <p:nvSpPr>
            <p:cNvPr id="71" name="Isosceles Triangle 70"/>
            <p:cNvSpPr/>
            <p:nvPr/>
          </p:nvSpPr>
          <p:spPr>
            <a:xfrm flipV="1">
              <a:off x="1787727" y="4596104"/>
              <a:ext cx="180975" cy="146697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41963" y="5938284"/>
            <a:ext cx="1803575" cy="718991"/>
            <a:chOff x="122544" y="5423657"/>
            <a:chExt cx="1803575" cy="718991"/>
          </a:xfrm>
        </p:grpSpPr>
        <p:sp>
          <p:nvSpPr>
            <p:cNvPr id="68" name="TextBox 67"/>
            <p:cNvSpPr txBox="1"/>
            <p:nvPr/>
          </p:nvSpPr>
          <p:spPr>
            <a:xfrm>
              <a:off x="146786" y="5423657"/>
              <a:ext cx="177933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ase of implementation:</a:t>
              </a:r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122544" y="5799530"/>
              <a:ext cx="1803575" cy="343118"/>
              <a:chOff x="6923771" y="4805360"/>
              <a:chExt cx="1803575" cy="343118"/>
            </a:xfrm>
          </p:grpSpPr>
          <p:grpSp>
            <p:nvGrpSpPr>
              <p:cNvPr id="73" name="Group 72"/>
              <p:cNvGrpSpPr/>
              <p:nvPr/>
            </p:nvGrpSpPr>
            <p:grpSpPr>
              <a:xfrm>
                <a:off x="6963939" y="4805360"/>
                <a:ext cx="1715503" cy="182880"/>
                <a:chOff x="6963939" y="4738686"/>
                <a:chExt cx="1715503" cy="182880"/>
              </a:xfrm>
            </p:grpSpPr>
            <p:cxnSp>
              <p:nvCxnSpPr>
                <p:cNvPr id="77" name="Straight Connector 76"/>
                <p:cNvCxnSpPr/>
                <p:nvPr/>
              </p:nvCxnSpPr>
              <p:spPr>
                <a:xfrm flipV="1">
                  <a:off x="6973464" y="4831080"/>
                  <a:ext cx="1699628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78" name="Straight Connector 77"/>
                <p:cNvCxnSpPr/>
                <p:nvPr/>
              </p:nvCxnSpPr>
              <p:spPr>
                <a:xfrm>
                  <a:off x="6963939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79" name="Straight Connector 78"/>
                <p:cNvCxnSpPr/>
                <p:nvPr/>
              </p:nvCxnSpPr>
              <p:spPr>
                <a:xfrm>
                  <a:off x="8679442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80" name="Straight Connector 79"/>
                <p:cNvCxnSpPr/>
                <p:nvPr/>
              </p:nvCxnSpPr>
              <p:spPr>
                <a:xfrm>
                  <a:off x="7821691" y="4738686"/>
                  <a:ext cx="0" cy="18288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81" name="Straight Connector 80"/>
                <p:cNvCxnSpPr/>
                <p:nvPr/>
              </p:nvCxnSpPr>
              <p:spPr>
                <a:xfrm>
                  <a:off x="7392815" y="4761546"/>
                  <a:ext cx="0" cy="13716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  <p:cxnSp>
              <p:nvCxnSpPr>
                <p:cNvPr id="82" name="Straight Connector 81"/>
                <p:cNvCxnSpPr/>
                <p:nvPr/>
              </p:nvCxnSpPr>
              <p:spPr>
                <a:xfrm>
                  <a:off x="8250567" y="4761546"/>
                  <a:ext cx="0" cy="13716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</p:cxnSp>
          </p:grpSp>
          <p:sp>
            <p:nvSpPr>
              <p:cNvPr id="74" name="TextBox 73"/>
              <p:cNvSpPr txBox="1"/>
              <p:nvPr/>
            </p:nvSpPr>
            <p:spPr>
              <a:xfrm>
                <a:off x="6923771" y="4994590"/>
                <a:ext cx="7854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L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7771766" y="4994590"/>
                <a:ext cx="10740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M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8634372" y="4994590"/>
                <a:ext cx="92974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</a:rPr>
                  <a:t>H</a:t>
                </a:r>
              </a:p>
            </p:txBody>
          </p:sp>
        </p:grpSp>
        <p:sp>
          <p:nvSpPr>
            <p:cNvPr id="72" name="Isosceles Triangle 71"/>
            <p:cNvSpPr/>
            <p:nvPr/>
          </p:nvSpPr>
          <p:spPr>
            <a:xfrm flipV="1">
              <a:off x="504206" y="5654750"/>
              <a:ext cx="180975" cy="137160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3312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PVERSION" val="2008"/>
  <p:tag name="USESECONDARYMONITOR" val="True"/>
  <p:tag name="ANSWERNOWSTYLE" val="-1"/>
  <p:tag name="RESPCOUNTERFORMAT" val="0"/>
  <p:tag name="NUMRESPONSES" val="1"/>
  <p:tag name="CHARTVALUEFORMAT" val="0%"/>
  <p:tag name="AUTOUPDATEALIASES" val="True"/>
  <p:tag name="RACEANIMATIONSPEED" val="3"/>
  <p:tag name="MAXRESPONDERS" val="5"/>
  <p:tag name="BUBBLEGROUPING" val="3"/>
  <p:tag name="CUSTOMCELLBACKCOLOR1" val="-657956"/>
  <p:tag name="USESCHEMECOLORS" val="True"/>
  <p:tag name="GRIDOPACITY" val="90"/>
  <p:tag name="GRIDPOSITION" val="1"/>
  <p:tag name="RESETCHARTS" val="True"/>
  <p:tag name="INCLUDEPPT" val="True"/>
  <p:tag name="REALTIMEBACKUP" val="False"/>
  <p:tag name="CHARTSCALE" val="True"/>
  <p:tag name="FIBINCLUDEOTHER" val="True"/>
  <p:tag name="PRRESPONSE3" val="8"/>
  <p:tag name="PRRESPONSE7" val="4"/>
  <p:tag name="SHOWFLASHWARNING" val="True"/>
  <p:tag name="SAVECSVWITHSESSION" val="True"/>
  <p:tag name="COUNTDOWNSTYLE" val="-1"/>
  <p:tag name="INPUTSOURCE" val="1"/>
  <p:tag name="AUTOADVANCE" val="False"/>
  <p:tag name="RACEENDPOINTS" val="100"/>
  <p:tag name="TEAMSINLEADERBOARD" val="5"/>
  <p:tag name="DEFAULTNUMTEAMS" val="5"/>
  <p:tag name="CUSTOMCELLBACKCOLOR3" val="-268652"/>
  <p:tag name="DISPLAYDEVICEID" val="True"/>
  <p:tag name="POLLINGCYCLE" val="2"/>
  <p:tag name="MULTIRESPDIVISOR" val="1"/>
  <p:tag name="INCORRECTPOINTVALUE" val="0"/>
  <p:tag name="ADVANCEDSETTINGSVIEW" val="True"/>
  <p:tag name="PRRESPONSE1" val="10"/>
  <p:tag name="PRRESPONSE6" val="5"/>
  <p:tag name="ALWAYSOPENPOLL" val="False"/>
  <p:tag name="SHOWBARVISIBLE" val="True"/>
  <p:tag name="ANSWERNOWTEXT" val="Answer Now"/>
  <p:tag name="ALLOWDUPLICATES" val="False"/>
  <p:tag name="ROTATIONINTERVAL" val="2"/>
  <p:tag name="PARTICIPANTSINLEADERBOARD" val="5"/>
  <p:tag name="CUSTOMGRIDBACKCOLOR" val="-722948"/>
  <p:tag name="DISPLAYNAME" val="True"/>
  <p:tag name="GRIDSIZE" val="{Width=800, Height=600}"/>
  <p:tag name="PARTLISTDEFAULT" val="0"/>
  <p:tag name="ZEROBASED" val="False"/>
  <p:tag name="FIBDISPLAYKEYWORDS" val="True"/>
  <p:tag name="PRRESPONSE8" val="3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d&lt;/m_strFormatTime&gt;&lt;/m_precDefaultDay&gt;&lt;m_mruColor&gt;&lt;m_vecMRU length=&quot;2&quot;&gt;&lt;elem m_fUsage=&quot;2.71000000000000000000E+000&quot;&gt;&lt;m_msothmcolidx val=&quot;0&quot;/&gt;&lt;m_rgb r=&quot;22&quot; g=&quot;c1&quot; b=&quot;b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d&quot; g=&quot;2&quot; b=&quot;47&quot;/&gt;&lt;m_ppcolschidx tagver0=&quot;23004&quot; tagname0=&quot;m_ppcolschidxUNRECOGNIZED&quot; val=&quot;0&quot;/&gt;&lt;m_nBrightness val=&quot;0&quot;/&gt;&lt;/elem&gt;&lt;/m_vecMRU&gt;&lt;/m_mruColor&gt;&lt;/CPresentation&gt;&lt;/root&gt;"/>
  <p:tag name="BULLETTYPE" val="3"/>
  <p:tag name="BACKUPSESSIONS" val="True"/>
  <p:tag name="RACERSMAXDISPLAYED" val="5"/>
  <p:tag name="BUBBLEVALUEFORMAT" val="0.0"/>
  <p:tag name="DISPLAYDEVICENUMBER" val="True"/>
  <p:tag name="CHARTLABELS" val="1"/>
  <p:tag name="REALTIMEBACKUPPATH" val="(None)"/>
  <p:tag name="PRRESPONSE2" val="9"/>
  <p:tag name="PRRESPONSE10" val="1"/>
  <p:tag name="CSVFORMAT" val="0"/>
  <p:tag name="BACKUPMAINTENANCE" val="7"/>
  <p:tag name="BUBBLENAMEVISIBLE" val="True"/>
  <p:tag name="CUSTOMCELLBACKCOLOR4" val="-8355712"/>
  <p:tag name="INCLUDENONRESPONDERS" val="False"/>
  <p:tag name="FIBDISPLAYRESULTS" val="True"/>
  <p:tag name="PRRESPONSE9" val="2"/>
  <p:tag name="RESPCOUNTERSTYLE" val="-1"/>
  <p:tag name="STDCHART" val="1"/>
  <p:tag name="CUSTOMCELLBACKCOLOR2" val="-13395457"/>
  <p:tag name="ALLOWUSERFEEDBACK" val="True"/>
  <p:tag name="PRRESPONSE4" val="7"/>
  <p:tag name="EXPANDSHOWBAR" val="True"/>
  <p:tag name="SKIPREMAININGRACESLIDES" val="True"/>
  <p:tag name="AUTOSIZEGRID" val="True"/>
  <p:tag name="FIBNUMRESULTS" val="5"/>
  <p:tag name="RESPTABLESTYLE" val="-1"/>
  <p:tag name="CUSTOMCELLFORECOLOR" val="-16777216"/>
  <p:tag name="AUTOADJUSTPARTRANGE" val="True"/>
  <p:tag name="COUNTDOWNSECONDS" val="10"/>
  <p:tag name="CHARTCOLORS" val="1"/>
  <p:tag name="POWERPOINTVERSION" val="14.0"/>
  <p:tag name="CORRECTPOINTVALUE" val="1"/>
  <p:tag name="BUBBLESIZEVISIBLE" val="True"/>
  <p:tag name="REVIEWONLY" val="False"/>
  <p:tag name="GRIDROTATIONINTERVAL" val="2"/>
  <p:tag name="CS" val="1,2"/>
  <p:tag name="PRRESPONSE5" val="6"/>
  <p:tag name="DELIMITERS" val="3.1"/>
  <p:tag name="TPFULLVERSION" val="4.2.3.23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English (UK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English (UK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English (UK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260f1dc1-6ce0-4315-800b-8537f82ed918">New Projects</Category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08132B5D7A6C4A9C17E8D11DD7B026" ma:contentTypeVersion="3" ma:contentTypeDescription="Create a new document." ma:contentTypeScope="" ma:versionID="cea74324d1bb4e68b40c58f8fc2d9837">
  <xsd:schema xmlns:xsd="http://www.w3.org/2001/XMLSchema" xmlns:xs="http://www.w3.org/2001/XMLSchema" xmlns:p="http://schemas.microsoft.com/office/2006/metadata/properties" xmlns:ns2="260f1dc1-6ce0-4315-800b-8537f82ed918" xmlns:ns3="6a3cfbd5-4e93-4315-976d-3a5790a2506e" targetNamespace="http://schemas.microsoft.com/office/2006/metadata/properties" ma:root="true" ma:fieldsID="4b59070239627ae7845773cb28bdb022" ns2:_="" ns3:_="">
    <xsd:import namespace="260f1dc1-6ce0-4315-800b-8537f82ed918"/>
    <xsd:import namespace="6a3cfbd5-4e93-4315-976d-3a5790a2506e"/>
    <xsd:element name="properties">
      <xsd:complexType>
        <xsd:sequence>
          <xsd:element name="documentManagement">
            <xsd:complexType>
              <xsd:all>
                <xsd:element ref="ns2:Category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0f1dc1-6ce0-4315-800b-8537f82ed918" elementFormDefault="qualified">
    <xsd:import namespace="http://schemas.microsoft.com/office/2006/documentManagement/types"/>
    <xsd:import namespace="http://schemas.microsoft.com/office/infopath/2007/PartnerControls"/>
    <xsd:element name="Category" ma:index="8" ma:displayName="Category" ma:format="Dropdown" ma:internalName="Category">
      <xsd:simpleType>
        <xsd:restriction base="dms:Choice">
          <xsd:enumeration value="Aquaculture"/>
          <xsd:enumeration value="Aquaculture 3Feet Plan"/>
          <xsd:enumeration value="Aquaculture KPI's"/>
          <xsd:enumeration value="Aquaculture Reports"/>
          <xsd:enumeration value="New Projects"/>
          <xsd:enumeration value="Contacts"/>
          <xsd:enumeration value="Lab Documents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3cfbd5-4e93-4315-976d-3a5790a2506e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7FF3E5E-48DD-4879-BF73-E8725192E5C9}"/>
</file>

<file path=customXml/itemProps2.xml><?xml version="1.0" encoding="utf-8"?>
<ds:datastoreItem xmlns:ds="http://schemas.openxmlformats.org/officeDocument/2006/customXml" ds:itemID="{4A388E3E-A823-4E57-A325-21B15903435F}"/>
</file>

<file path=customXml/itemProps3.xml><?xml version="1.0" encoding="utf-8"?>
<ds:datastoreItem xmlns:ds="http://schemas.openxmlformats.org/officeDocument/2006/customXml" ds:itemID="{7639D467-68CD-45D8-A031-A4CC2E53594E}"/>
</file>

<file path=docProps/app.xml><?xml version="1.0" encoding="utf-8"?>
<Properties xmlns="http://schemas.openxmlformats.org/officeDocument/2006/extended-properties" xmlns:vt="http://schemas.openxmlformats.org/officeDocument/2006/docPropsVTypes">
  <Template>Firm Format - English (UK)</Template>
  <TotalTime>17832</TotalTime>
  <Words>74</Words>
  <Application>Microsoft Office PowerPoint</Application>
  <PresentationFormat>Custom</PresentationFormat>
  <Paragraphs>28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Firm Format - English (UK)</vt:lpstr>
      <vt:lpstr>1_Firm Format - English (UK)</vt:lpstr>
      <vt:lpstr>2_Firm Format - English (UK)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drienna Naidoo</dc:creator>
  <cp:lastModifiedBy>Lucia</cp:lastModifiedBy>
  <cp:revision>1172</cp:revision>
  <cp:lastPrinted>2014-05-26T10:34:17Z</cp:lastPrinted>
  <dcterms:created xsi:type="dcterms:W3CDTF">2014-05-08T07:55:05Z</dcterms:created>
  <dcterms:modified xsi:type="dcterms:W3CDTF">2015-02-16T08:1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  <property fmtid="{D5CDD505-2E9C-101B-9397-08002B2CF9AE}" pid="11" name="ContentTypeId">
    <vt:lpwstr>0x010100DD08132B5D7A6C4A9C17E8D11DD7B026</vt:lpwstr>
  </property>
</Properties>
</file>